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8" r:id="rId4"/>
  </p:sldMasterIdLst>
  <p:notesMasterIdLst>
    <p:notesMasterId r:id="rId6"/>
  </p:notesMasterIdLst>
  <p:handoutMasterIdLst>
    <p:handoutMasterId r:id="rId7"/>
  </p:handoutMasterIdLst>
  <p:sldIdLst>
    <p:sldId id="2147478480" r:id="rId5"/>
  </p:sldIdLst>
  <p:sldSz cx="12192000" cy="6858000"/>
  <p:notesSz cx="6858000" cy="9144000"/>
  <p:custDataLst>
    <p:tags r:id="rId8"/>
  </p:custDataLst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orlagen NEU" id="{F7427985-F8A5-4F0D-8FB8-9AE6777AC820}">
          <p14:sldIdLst>
            <p14:sldId id="214747848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16F4CD8-F122-31B9-7A8A-9A01F106891B}" name="Dürmeyer, Felix" initials="DF" userId="S::felix.duermeyer@senacor.com::e681a03b-95e4-4ec6-8dc1-70ae960b340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73737"/>
    <a:srgbClr val="FF40FF"/>
    <a:srgbClr val="FF79FF"/>
    <a:srgbClr val="7192C7"/>
    <a:srgbClr val="000000"/>
    <a:srgbClr val="323232"/>
    <a:srgbClr val="F6C111"/>
    <a:srgbClr val="929292"/>
    <a:srgbClr val="EEC34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F1E4BF-40CF-4E40-A616-492EC6FB9EFF}" v="1" dt="2024-10-25T11:39:41.1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 autoAdjust="0"/>
    <p:restoredTop sz="95510" autoAdjust="0"/>
  </p:normalViewPr>
  <p:slideViewPr>
    <p:cSldViewPr snapToGrid="0">
      <p:cViewPr varScale="1">
        <p:scale>
          <a:sx n="122" d="100"/>
          <a:sy n="122" d="100"/>
        </p:scale>
        <p:origin x="744" y="2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10DCB21-F4D3-D1D4-CF0D-BF78D59D28E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A16866-EFD6-68E7-47B7-8B090D9388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225DF0-5E4A-495E-AD8C-CC8FDC636079}" type="datetimeFigureOut">
              <a:rPr lang="de-DE" smtClean="0"/>
              <a:t>03.06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A00D9FC-B05C-D34D-37E7-C6467BDC567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E790B14-F39F-A965-0690-1D65B64684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1E73CE-A8F7-4FAA-8263-09231EA4F75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9260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5B1B49-9609-4E63-A375-FC459FA5B93F}" type="datetimeFigureOut">
              <a:rPr lang="de-DE" smtClean="0"/>
              <a:t>03.06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E535FA-94A6-4DEF-8F84-D811EAB89C6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230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7E535FA-94A6-4DEF-8F84-D811EAB89C69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12148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11" name="Rechteck: abgerundete Ecken 11">
            <a:extLst>
              <a:ext uri="{FF2B5EF4-FFF2-40B4-BE49-F238E27FC236}">
                <a16:creationId xmlns:a16="http://schemas.microsoft.com/office/drawing/2014/main" id="{2EBA78E4-D79A-89F2-769D-5FEF9B171A34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7318" y="1224000"/>
            <a:ext cx="2268000" cy="2268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2570A174-E936-064E-B6EF-61EC5246BD46}"/>
              </a:ext>
            </a:extLst>
          </p:cNvPr>
          <p:cNvSpPr>
            <a:spLocks/>
          </p:cNvSpPr>
          <p:nvPr userDrawn="1"/>
        </p:nvSpPr>
        <p:spPr>
          <a:xfrm>
            <a:off x="3247391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F9564871-2315-F917-936A-A63BE5426721}"/>
              </a:ext>
            </a:extLst>
          </p:cNvPr>
          <p:cNvSpPr>
            <a:spLocks/>
          </p:cNvSpPr>
          <p:nvPr userDrawn="1"/>
        </p:nvSpPr>
        <p:spPr>
          <a:xfrm>
            <a:off x="6684354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E89FB22-ACD1-278F-920A-970D75D4DDA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307136A-0F0F-491A-C7D1-A6953ABC9F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2E654FE3-3BF6-5457-8FEE-A564F438199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47391" y="1530910"/>
            <a:ext cx="3214778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E0DCADE-741F-18AD-F878-A5B92F29B9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4354" y="1530910"/>
            <a:ext cx="5028373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259AD18-06AD-A538-861B-28ED3C8BB8A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6750" y="1223963"/>
            <a:ext cx="2268538" cy="2268537"/>
          </a:xfrm>
        </p:spPr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09459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A79E0EF-A53E-952F-7007-38AF0E9734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44514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79E0EF-A53E-952F-7007-38AF0E97341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407493-1651-DC20-3673-08A127F69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799" y="719999"/>
            <a:ext cx="11233927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51DED-992C-C7B7-1C4D-C8EC85A9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4428B-05F9-FA76-89F9-D8C8375E84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3600" y="6555600"/>
            <a:ext cx="8964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Technologies AG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5C602-747D-3F65-F3A6-7B2B5D91D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5CE9A30-C9AE-3917-8A79-651505040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799" y="1692000"/>
            <a:ext cx="11221201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2324410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None/>
        <a:defRPr sz="1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Symbol" pitchFamily="2" charset="2"/>
        <a:buChar char="-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rabi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lphaL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4020" userDrawn="1">
          <p15:clr>
            <a:srgbClr val="F26B43"/>
          </p15:clr>
        </p15:guide>
        <p15:guide id="3" orient="horz" pos="1063" userDrawn="1">
          <p15:clr>
            <a:srgbClr val="F26B43"/>
          </p15:clr>
        </p15:guide>
        <p15:guide id="4" pos="30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6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D7979CE6-BA6F-DFB1-20BF-70ACDBC1ED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4787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979CE6-BA6F-DFB1-20BF-70ACDBC1ED7E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C46CB4C-5F6A-D062-7972-C424E49F1F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13BA3-4DBD-492F-AF1C-C76B12832872}" type="datetime1">
              <a:rPr lang="de-DE" smtClean="0"/>
              <a:pPr/>
              <a:t>03.06.25</a:t>
            </a:fld>
            <a:endParaRPr lang="en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C8939BF-9234-FFB2-4F27-1966C7494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Nam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F03F153-0AB9-AE96-8578-A7F30070EC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enacor Technologies AG</a:t>
            </a:r>
            <a:endParaRPr lang="en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F0B974-A25D-535F-F28E-44364717EBA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3DBB63-5C76-DA40-949C-F00FB53C9B50}" type="slidenum">
              <a:rPr lang="en-DE" smtClean="0"/>
              <a:pPr/>
              <a:t>1</a:t>
            </a:fld>
            <a:endParaRPr lang="en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4A53F4F-D508-EC07-8D4B-82CE9F4DD6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anaging Consultan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C44AFB2-E434-A3F5-7633-7577DED590D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9BA8FC9-03A2-9AC1-D64A-77CE72A64ED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lvl="2"/>
            <a:endParaRPr lang="de-DE" sz="1000" dirty="0"/>
          </a:p>
        </p:txBody>
      </p:sp>
      <p:sp>
        <p:nvSpPr>
          <p:cNvPr id="14" name="Content Placeholder 16">
            <a:extLst>
              <a:ext uri="{FF2B5EF4-FFF2-40B4-BE49-F238E27FC236}">
                <a16:creationId xmlns:a16="http://schemas.microsoft.com/office/drawing/2014/main" id="{2FF1A088-3CF5-5031-CA0B-42D56A226A42}"/>
              </a:ext>
            </a:extLst>
          </p:cNvPr>
          <p:cNvSpPr txBox="1">
            <a:spLocks noChangeAspect="1"/>
          </p:cNvSpPr>
          <p:nvPr/>
        </p:nvSpPr>
        <p:spPr>
          <a:xfrm>
            <a:off x="485282" y="4101476"/>
            <a:ext cx="5501753" cy="228124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Clr>
                <a:schemeClr val="bg1"/>
              </a:buClr>
            </a:pPr>
            <a:endParaRPr lang="de-DE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ontent Placeholder 16">
            <a:extLst>
              <a:ext uri="{FF2B5EF4-FFF2-40B4-BE49-F238E27FC236}">
                <a16:creationId xmlns:a16="http://schemas.microsoft.com/office/drawing/2014/main" id="{84A18970-A769-DA1E-5D97-0634790DAB43}"/>
              </a:ext>
            </a:extLst>
          </p:cNvPr>
          <p:cNvSpPr txBox="1">
            <a:spLocks noChangeAspect="1"/>
          </p:cNvSpPr>
          <p:nvPr/>
        </p:nvSpPr>
        <p:spPr>
          <a:xfrm>
            <a:off x="6204967" y="4082736"/>
            <a:ext cx="5501753" cy="228124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Clr>
                <a:schemeClr val="bg1"/>
              </a:buClr>
            </a:pPr>
            <a:endParaRPr lang="en-US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F478609-7FF9-3C67-DAFE-921A780ECB3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236158" y="1050848"/>
            <a:ext cx="796412" cy="3635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E9486CF-AE6A-13FE-40A7-D6E688E73A8A}"/>
              </a:ext>
            </a:extLst>
          </p:cNvPr>
          <p:cNvSpPr txBox="1">
            <a:spLocks/>
          </p:cNvSpPr>
          <p:nvPr/>
        </p:nvSpPr>
        <p:spPr>
          <a:xfrm>
            <a:off x="3178064" y="1117562"/>
            <a:ext cx="914400" cy="33025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algn="l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r>
              <a:rPr lang="de-DE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</a:t>
            </a:r>
            <a:endParaRPr lang="de-DE" sz="12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64CF9EC-B193-937A-42A7-FF7911C6F1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84354" y="1223731"/>
            <a:ext cx="3755594" cy="1907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1FACB30-1FA0-8FDB-8116-DE614082FA1D}"/>
              </a:ext>
            </a:extLst>
          </p:cNvPr>
          <p:cNvSpPr txBox="1">
            <a:spLocks/>
          </p:cNvSpPr>
          <p:nvPr/>
        </p:nvSpPr>
        <p:spPr>
          <a:xfrm>
            <a:off x="6608046" y="1117641"/>
            <a:ext cx="914400" cy="33025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algn="l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r>
              <a:rPr lang="de-DE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 AND PROFESSIONAL EXPERIENCE</a:t>
            </a:r>
            <a:endParaRPr lang="de-DE" sz="12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BFF7BA2E-45A4-29F9-1278-CA3E2A1EC3A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78798" y="3776012"/>
            <a:ext cx="3214778" cy="219389"/>
          </a:xfrm>
          <a:prstGeom prst="rect">
            <a:avLst/>
          </a:prstGeom>
          <a:solidFill>
            <a:srgbClr val="3737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B0B1B436-C9F9-66B3-5164-2DA261736F34}"/>
              </a:ext>
            </a:extLst>
          </p:cNvPr>
          <p:cNvSpPr txBox="1">
            <a:spLocks/>
          </p:cNvSpPr>
          <p:nvPr/>
        </p:nvSpPr>
        <p:spPr>
          <a:xfrm>
            <a:off x="411155" y="3691363"/>
            <a:ext cx="914400" cy="33025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algn="l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r>
              <a:rPr lang="de-DE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HISTORY (EXCERPT)</a:t>
            </a:r>
            <a:endParaRPr lang="de-DE" sz="12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68293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 2023 (Light)">
  <a:themeElements>
    <a:clrScheme name="Senacor PPT 2023">
      <a:dk1>
        <a:srgbClr val="000000"/>
      </a:dk1>
      <a:lt1>
        <a:srgbClr val="FFFFFF"/>
      </a:lt1>
      <a:dk2>
        <a:srgbClr val="929292"/>
      </a:dk2>
      <a:lt2>
        <a:srgbClr val="373737"/>
      </a:lt2>
      <a:accent1>
        <a:srgbClr val="7091C8"/>
      </a:accent1>
      <a:accent2>
        <a:srgbClr val="82B8A1"/>
      </a:accent2>
      <a:accent3>
        <a:srgbClr val="C4C4C4"/>
      </a:accent3>
      <a:accent4>
        <a:srgbClr val="A8A8A8"/>
      </a:accent4>
      <a:accent5>
        <a:srgbClr val="D0D0D0"/>
      </a:accent5>
      <a:accent6>
        <a:srgbClr val="F6C111"/>
      </a:accent6>
      <a:hlink>
        <a:srgbClr val="7191C8"/>
      </a:hlink>
      <a:folHlink>
        <a:srgbClr val="596A8E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noAutofit/>
      </a:bodyPr>
      <a:lstStyle>
        <a:defPPr marL="180000" indent="-180000" algn="l">
          <a:lnSpc>
            <a:spcPct val="110000"/>
          </a:lnSpc>
          <a:spcBef>
            <a:spcPts val="400"/>
          </a:spcBef>
          <a:spcAft>
            <a:spcPts val="400"/>
          </a:spcAft>
          <a:buFont typeface="Wingdings" pitchFamily="2" charset="2"/>
          <a:buChar char="§"/>
          <a:defRPr sz="1200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 2023 Design" id="{2CA9BC13-F80B-4613-ABA7-5709D830275C}" vid="{AB471A79-B682-400B-9E72-8ACC93ECDCB0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369A2B9592B44C89D12E69AC892C99" ma:contentTypeVersion="13" ma:contentTypeDescription="Create a new document." ma:contentTypeScope="" ma:versionID="5d62b34adee5f8c188b484f245c8e4b3">
  <xsd:schema xmlns:xsd="http://www.w3.org/2001/XMLSchema" xmlns:xs="http://www.w3.org/2001/XMLSchema" xmlns:p="http://schemas.microsoft.com/office/2006/metadata/properties" xmlns:ns2="c70c37c3-6fe6-4316-bb79-6c535e774478" xmlns:ns3="f247cc86-41ce-4e54-895f-61d07d03751e" targetNamespace="http://schemas.microsoft.com/office/2006/metadata/properties" ma:root="true" ma:fieldsID="5a5f57b8f0e417d9680f4ee757ce1c1d" ns2:_="" ns3:_="">
    <xsd:import namespace="c70c37c3-6fe6-4316-bb79-6c535e774478"/>
    <xsd:import namespace="f247cc86-41ce-4e54-895f-61d07d0375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Persone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0c37c3-6fe6-4316-bb79-6c535e7744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3ea49aa2-03d1-4c4a-9f28-6baa57d9157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Personen" ma:index="19" nillable="true" ma:displayName="Personen" ma:format="Dropdown" ma:list="UserInfo" ma:SharePointGroup="0" ma:internalName="Persone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47cc86-41ce-4e54-895f-61d07d03751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a96274e-1b24-44d9-8f5e-b12b3b3f589b}" ma:internalName="TaxCatchAll" ma:showField="CatchAllData" ma:web="f247cc86-41ce-4e54-895f-61d07d0375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70c37c3-6fe6-4316-bb79-6c535e774478">
      <Terms xmlns="http://schemas.microsoft.com/office/infopath/2007/PartnerControls"/>
    </lcf76f155ced4ddcb4097134ff3c332f>
    <TaxCatchAll xmlns="f247cc86-41ce-4e54-895f-61d07d03751e" xsi:nil="true"/>
    <SharedWithUsers xmlns="f247cc86-41ce-4e54-895f-61d07d03751e">
      <UserInfo>
        <DisplayName>Gumlich, Timo</DisplayName>
        <AccountId>988</AccountId>
        <AccountType/>
      </UserInfo>
    </SharedWithUsers>
    <Personen xmlns="c70c37c3-6fe6-4316-bb79-6c535e774478">
      <UserInfo>
        <DisplayName/>
        <AccountId xsi:nil="true"/>
        <AccountType/>
      </UserInfo>
    </Personen>
  </documentManagement>
</p:properties>
</file>

<file path=customXml/itemProps1.xml><?xml version="1.0" encoding="utf-8"?>
<ds:datastoreItem xmlns:ds="http://schemas.openxmlformats.org/officeDocument/2006/customXml" ds:itemID="{8F904FC4-530C-4BCB-9D2C-662ACA6771A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0c37c3-6fe6-4316-bb79-6c535e774478"/>
    <ds:schemaRef ds:uri="f247cc86-41ce-4e54-895f-61d07d0375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1105344-4E4D-4A05-949C-9504BEA8045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83A819-51AB-478F-855E-A0B89FBD5DC9}">
  <ds:schemaRefs>
    <ds:schemaRef ds:uri="http://schemas.microsoft.com/office/2006/metadata/properties"/>
    <ds:schemaRef ds:uri="http://purl.org/dc/dcmitype/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elements/1.1/"/>
    <ds:schemaRef ds:uri="http://schemas.openxmlformats.org/package/2006/metadata/core-properties"/>
    <ds:schemaRef ds:uri="1d00e4ba-cf8a-4136-899f-7a38fabc35ab"/>
    <ds:schemaRef ds:uri="1bdc9592-e98a-44ce-b96f-0a690d7aee69"/>
    <ds:schemaRef ds:uri="b9e4ffd2-11a3-4315-8fd4-c6542e1deaf7"/>
    <ds:schemaRef ds:uri="3b09daa4-2b5c-46ef-bcca-ab61debba46f"/>
    <ds:schemaRef ds:uri="c70c37c3-6fe6-4316-bb79-6c535e774478"/>
    <ds:schemaRef ds:uri="f247cc86-41ce-4e54-895f-61d07d03751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</Words>
  <Application>Microsoft Macintosh PowerPoint</Application>
  <PresentationFormat>Widescreen</PresentationFormat>
  <Paragraphs>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Symbol</vt:lpstr>
      <vt:lpstr>Wingdings</vt:lpstr>
      <vt:lpstr>Senacor 2023 (Light)</vt:lpstr>
      <vt:lpstr>think-cell Slide</vt:lpstr>
      <vt:lpstr>Na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nacor Präsentation</dc:title>
  <dc:subject>IT-Beratung</dc:subject>
  <dc:creator>Brusch, Ulf</dc:creator>
  <cp:keywords>Senacor Farbschema</cp:keywords>
  <cp:lastModifiedBy>Heinrich, Daniel</cp:lastModifiedBy>
  <cp:revision>8</cp:revision>
  <cp:lastPrinted>2023-09-29T10:30:56Z</cp:lastPrinted>
  <dcterms:created xsi:type="dcterms:W3CDTF">2023-05-16T12:46:23Z</dcterms:created>
  <dcterms:modified xsi:type="dcterms:W3CDTF">2025-06-03T10:46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369A2B9592B44C89D12E69AC892C99</vt:lpwstr>
  </property>
  <property fmtid="{D5CDD505-2E9C-101B-9397-08002B2CF9AE}" pid="3" name="MediaServiceImageTags">
    <vt:lpwstr/>
  </property>
  <property fmtid="{D5CDD505-2E9C-101B-9397-08002B2CF9AE}" pid="4" name="Order">
    <vt:r8>783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TriggerFlowInfo">
    <vt:lpwstr/>
  </property>
</Properties>
</file>